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68" r:id="rId2"/>
    <p:sldId id="270" r:id="rId3"/>
    <p:sldId id="276" r:id="rId4"/>
    <p:sldId id="274" r:id="rId5"/>
  </p:sldIdLst>
  <p:sldSz cx="12192000" cy="6858000"/>
  <p:notesSz cx="6858000" cy="9144000"/>
  <p:defaultTextStyle>
    <a:defPPr>
      <a:defRPr lang="sr-Latn-R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16264"/>
    <a:srgbClr val="858687"/>
    <a:srgbClr val="545557"/>
    <a:srgbClr val="5E5F61"/>
    <a:srgbClr val="696969"/>
    <a:srgbClr val="4B4B4B"/>
    <a:srgbClr val="363636"/>
    <a:srgbClr val="2E1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74" autoAdjust="0"/>
    <p:restoredTop sz="91562" autoAdjust="0"/>
  </p:normalViewPr>
  <p:slideViewPr>
    <p:cSldViewPr snapToGrid="0">
      <p:cViewPr varScale="1">
        <p:scale>
          <a:sx n="65" d="100"/>
          <a:sy n="65" d="100"/>
        </p:scale>
        <p:origin x="66" y="3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9449CE-277F-48FC-A810-BBA8B5F0B8CB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r-H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0902D-7B1C-4BFF-91A0-626D214FB264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122954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 noProof="0" dirty="0" smtClean="0"/>
              <a:t>Razradite SWOT analizu na način da detektirate ključne snage</a:t>
            </a:r>
            <a:r>
              <a:rPr lang="hr-HR" baseline="0" noProof="0" dirty="0" smtClean="0"/>
              <a:t> i</a:t>
            </a:r>
            <a:r>
              <a:rPr lang="hr-HR" noProof="0" dirty="0" smtClean="0"/>
              <a:t> slabosti</a:t>
            </a:r>
            <a:r>
              <a:rPr lang="hr-HR" baseline="0" noProof="0" dirty="0" smtClean="0"/>
              <a:t> iz internog okruženja te prilike i prijetnje iz vanjskog okruženja.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5A8B03-66BD-4A51-B081-D59666990B6A}" type="slidenum">
              <a:rPr lang="hr-HR" smtClean="0"/>
              <a:t>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6321162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 noProof="0" dirty="0" smtClean="0"/>
              <a:t>Navedite ključne zaključke koji su po vama bitni</a:t>
            </a:r>
            <a:r>
              <a:rPr lang="hr-HR" baseline="0" noProof="0" dirty="0" smtClean="0"/>
              <a:t>.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5A8B03-66BD-4A51-B081-D59666990B6A}" type="slidenum">
              <a:rPr lang="hr-HR" smtClean="0"/>
              <a:t>4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90556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338674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12410700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024655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795774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0858252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9184795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98354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825916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2796297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2797464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r-H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568714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hr-H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r-H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7424C8-9E4D-44DD-B840-78C84645CB28}" type="datetimeFigureOut">
              <a:rPr lang="hr-HR" smtClean="0"/>
              <a:t>5.3.2019.</a:t>
            </a:fld>
            <a:endParaRPr lang="hr-H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r-H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470665-833F-4C70-9BBA-00A736B2584D}" type="slidenum">
              <a:rPr lang="hr-HR" smtClean="0"/>
              <a:t>‹#›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3465978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r-Latn-R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12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image" Target="../media/image4.png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3051"/>
            <a:ext cx="12192000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335016" y="878638"/>
            <a:ext cx="885698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r-HR" sz="9600" dirty="0" smtClean="0">
                <a:solidFill>
                  <a:schemeClr val="bg1"/>
                </a:solidFill>
                <a:latin typeface="Comic Sans MS" panose="030F0702030302020204" pitchFamily="66" charset="0"/>
              </a:rPr>
              <a:t>ZADATAK</a:t>
            </a:r>
            <a:endParaRPr lang="hr-HR" sz="9600" dirty="0">
              <a:solidFill>
                <a:schemeClr val="bg1"/>
              </a:solidFill>
              <a:latin typeface="Comic Sans MS" panose="030F0702030302020204" pitchFamily="66" charset="0"/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7378321" y="2633049"/>
            <a:ext cx="4398391" cy="1811217"/>
          </a:xfrm>
          <a:prstGeom prst="rightArrow">
            <a:avLst/>
          </a:prstGeom>
          <a:noFill/>
          <a:ln w="57150">
            <a:solidFill>
              <a:schemeClr val="bg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r-HR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239" y="1395369"/>
            <a:ext cx="5179237" cy="4556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601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28600" y="3529545"/>
            <a:ext cx="6567310" cy="373482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5594" y="689271"/>
            <a:ext cx="6567310" cy="359895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76121" y="3862552"/>
            <a:ext cx="6248400" cy="299544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61529" y="1048827"/>
            <a:ext cx="6248400" cy="2960312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/>
        </p:nvSpPr>
        <p:spPr>
          <a:xfrm>
            <a:off x="364721" y="1740204"/>
            <a:ext cx="497268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en-CA" sz="3200" b="1" dirty="0" smtClean="0">
              <a:solidFill>
                <a:srgbClr val="422100"/>
              </a:solidFill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 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hr-HR" sz="3200" b="1" dirty="0">
              <a:solidFill>
                <a:srgbClr val="422100"/>
              </a:solidFill>
            </a:endParaRPr>
          </a:p>
          <a:p>
            <a:pPr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en-CA" sz="3600" dirty="0">
              <a:solidFill>
                <a:srgbClr val="42210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88371" y="1155429"/>
            <a:ext cx="156645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3200" b="1" kern="0" dirty="0" smtClean="0">
                <a:solidFill>
                  <a:srgbClr val="422100"/>
                </a:solidFill>
              </a:rPr>
              <a:t>SNAGE</a:t>
            </a:r>
            <a:r>
              <a:rPr lang="en-US" sz="3200" b="1" kern="0" dirty="0" smtClean="0">
                <a:solidFill>
                  <a:srgbClr val="422100"/>
                </a:solidFill>
              </a:rPr>
              <a:t>:</a:t>
            </a:r>
            <a:r>
              <a:rPr lang="hr-HR" sz="3200" b="1" kern="0" dirty="0" smtClean="0">
                <a:solidFill>
                  <a:srgbClr val="422100"/>
                </a:solidFill>
              </a:rPr>
              <a:t> </a:t>
            </a:r>
            <a:endParaRPr lang="hr-HR" sz="32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8639" y="-94143"/>
            <a:ext cx="13222224" cy="110669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88371" y="176680"/>
            <a:ext cx="12236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0">
              <a:defRPr/>
            </a:pPr>
            <a:r>
              <a:rPr lang="hr-HR" sz="3600" b="1" kern="0" dirty="0" smtClean="0">
                <a:solidFill>
                  <a:schemeClr val="bg1"/>
                </a:solidFill>
              </a:rPr>
              <a:t>VEGETA NATUR: SWOT analiza </a:t>
            </a:r>
            <a:r>
              <a:rPr lang="en-US" sz="2400" b="1" kern="0" dirty="0" smtClean="0">
                <a:solidFill>
                  <a:schemeClr val="bg1"/>
                </a:solidFill>
              </a:rPr>
              <a:t>(Strength, Weaknesses, Opportunities, Threats)</a:t>
            </a:r>
            <a:endParaRPr lang="en-US" sz="3600" b="1" kern="0" dirty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13544" y="4696130"/>
            <a:ext cx="497268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en-CA" sz="3200" b="1" dirty="0" smtClean="0">
              <a:solidFill>
                <a:srgbClr val="422100"/>
              </a:solidFill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 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hr-HR" sz="3200" b="1" dirty="0">
              <a:solidFill>
                <a:srgbClr val="422100"/>
              </a:solidFill>
            </a:endParaRPr>
          </a:p>
          <a:p>
            <a:pPr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en-CA" sz="3600" dirty="0">
              <a:solidFill>
                <a:srgbClr val="422100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37194" y="4111355"/>
            <a:ext cx="165622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3200" b="1" kern="0" dirty="0" smtClean="0">
                <a:solidFill>
                  <a:srgbClr val="422100"/>
                </a:solidFill>
              </a:rPr>
              <a:t>PRILIKE</a:t>
            </a:r>
            <a:r>
              <a:rPr lang="en-US" sz="3200" b="1" kern="0" dirty="0" smtClean="0">
                <a:solidFill>
                  <a:srgbClr val="422100"/>
                </a:solidFill>
              </a:rPr>
              <a:t>:</a:t>
            </a:r>
            <a:r>
              <a:rPr lang="hr-HR" sz="3200" b="1" kern="0" dirty="0" smtClean="0">
                <a:solidFill>
                  <a:srgbClr val="422100"/>
                </a:solidFill>
              </a:rPr>
              <a:t> </a:t>
            </a:r>
            <a:endParaRPr lang="hr-HR" sz="3200" dirty="0"/>
          </a:p>
        </p:txBody>
      </p:sp>
      <p:sp>
        <p:nvSpPr>
          <p:cNvPr id="23" name="Rectangle 22"/>
          <p:cNvSpPr/>
          <p:nvPr/>
        </p:nvSpPr>
        <p:spPr>
          <a:xfrm>
            <a:off x="6615060" y="4696130"/>
            <a:ext cx="497268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en-CA" sz="3200" b="1" dirty="0" smtClean="0">
              <a:solidFill>
                <a:srgbClr val="422100"/>
              </a:solidFill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 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hr-HR" sz="3200" b="1" dirty="0">
              <a:solidFill>
                <a:srgbClr val="422100"/>
              </a:solidFill>
            </a:endParaRPr>
          </a:p>
          <a:p>
            <a:pPr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en-CA" sz="3600" dirty="0">
              <a:solidFill>
                <a:srgbClr val="4221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338710" y="4111355"/>
            <a:ext cx="209704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3200" b="1" kern="0" dirty="0" smtClean="0">
                <a:solidFill>
                  <a:srgbClr val="422100"/>
                </a:solidFill>
              </a:rPr>
              <a:t>PRIJETNJE</a:t>
            </a:r>
            <a:r>
              <a:rPr lang="en-US" sz="3200" b="1" kern="0" dirty="0" smtClean="0">
                <a:solidFill>
                  <a:srgbClr val="422100"/>
                </a:solidFill>
              </a:rPr>
              <a:t>:</a:t>
            </a:r>
            <a:r>
              <a:rPr lang="hr-HR" sz="3200" b="1" kern="0" dirty="0" smtClean="0">
                <a:solidFill>
                  <a:srgbClr val="422100"/>
                </a:solidFill>
              </a:rPr>
              <a:t> </a:t>
            </a:r>
            <a:endParaRPr lang="hr-HR" sz="3200" dirty="0"/>
          </a:p>
        </p:txBody>
      </p:sp>
      <p:sp>
        <p:nvSpPr>
          <p:cNvPr id="25" name="Rectangle 24"/>
          <p:cNvSpPr/>
          <p:nvPr/>
        </p:nvSpPr>
        <p:spPr>
          <a:xfrm>
            <a:off x="6615060" y="1800449"/>
            <a:ext cx="497268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en-CA" sz="3200" b="1" dirty="0" smtClean="0">
              <a:solidFill>
                <a:srgbClr val="422100"/>
              </a:solidFill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 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hr-HR" sz="3200" b="1" dirty="0">
              <a:solidFill>
                <a:srgbClr val="422100"/>
              </a:solidFill>
            </a:endParaRPr>
          </a:p>
          <a:p>
            <a:pPr>
              <a:defRPr/>
            </a:pPr>
            <a:r>
              <a:rPr lang="hr-HR" sz="3200" b="1" dirty="0" smtClean="0">
                <a:solidFill>
                  <a:srgbClr val="422100"/>
                </a:solidFill>
              </a:rPr>
              <a:t> </a:t>
            </a:r>
            <a:endParaRPr lang="en-CA" sz="3600" dirty="0">
              <a:solidFill>
                <a:srgbClr val="4221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338710" y="1215674"/>
            <a:ext cx="202170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hr-HR" sz="3200" b="1" kern="0" dirty="0" smtClean="0">
                <a:solidFill>
                  <a:srgbClr val="422100"/>
                </a:solidFill>
              </a:rPr>
              <a:t>SLABOSTI</a:t>
            </a:r>
            <a:r>
              <a:rPr lang="en-US" sz="3200" b="1" kern="0" dirty="0" smtClean="0">
                <a:solidFill>
                  <a:srgbClr val="422100"/>
                </a:solidFill>
              </a:rPr>
              <a:t>:</a:t>
            </a:r>
            <a:r>
              <a:rPr lang="hr-HR" sz="3200" b="1" kern="0" dirty="0" smtClean="0">
                <a:solidFill>
                  <a:srgbClr val="422100"/>
                </a:solidFill>
              </a:rPr>
              <a:t> </a:t>
            </a:r>
            <a:endParaRPr lang="hr-HR" sz="3200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10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11" r="50627" b="79531"/>
          <a:stretch/>
        </p:blipFill>
        <p:spPr>
          <a:xfrm>
            <a:off x="4104329" y="1048827"/>
            <a:ext cx="1971791" cy="1309362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11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414" b="84605"/>
          <a:stretch/>
        </p:blipFill>
        <p:spPr>
          <a:xfrm>
            <a:off x="10555859" y="1046676"/>
            <a:ext cx="1653135" cy="1007682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12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247" t="51545" b="29399"/>
          <a:stretch/>
        </p:blipFill>
        <p:spPr>
          <a:xfrm>
            <a:off x="9871105" y="3956695"/>
            <a:ext cx="2379860" cy="127303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13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418" t="50984" r="50432" b="29400"/>
          <a:stretch/>
        </p:blipFill>
        <p:spPr>
          <a:xfrm>
            <a:off x="4475748" y="3932210"/>
            <a:ext cx="1637794" cy="1317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23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r-H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hr-HR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82" b="4213"/>
          <a:stretch/>
        </p:blipFill>
        <p:spPr>
          <a:xfrm>
            <a:off x="-1" y="471949"/>
            <a:ext cx="12226413" cy="6371304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>
            <a:off x="2767656" y="4579945"/>
            <a:ext cx="28030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…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800064" y="4576909"/>
            <a:ext cx="28030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…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8959910" y="4576909"/>
            <a:ext cx="28030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…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959910" y="5992597"/>
            <a:ext cx="28030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…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5800065" y="5992597"/>
            <a:ext cx="28030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…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2767655" y="5992596"/>
            <a:ext cx="280302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…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28480" y="2056211"/>
            <a:ext cx="1899507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b="1" dirty="0" smtClean="0">
                <a:solidFill>
                  <a:prstClr val="black"/>
                </a:solidFill>
              </a:rPr>
              <a:t>Top izazov:</a:t>
            </a:r>
          </a:p>
          <a:p>
            <a:pPr>
              <a:defRPr/>
            </a:pPr>
            <a:endParaRPr lang="en-CA" sz="2000" dirty="0">
              <a:solidFill>
                <a:prstClr val="black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2737707" y="2056408"/>
            <a:ext cx="21539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Radni naziv koncepta:</a:t>
            </a: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…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932961" y="2056408"/>
            <a:ext cx="234312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Ključna poruka za potrošača:</a:t>
            </a: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213750" y="2056408"/>
            <a:ext cx="230633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b="1" dirty="0" smtClean="0">
                <a:solidFill>
                  <a:prstClr val="black"/>
                </a:solidFill>
              </a:rPr>
              <a:t>Ključna prednost na tržištu:</a:t>
            </a:r>
          </a:p>
          <a:p>
            <a:pPr>
              <a:defRPr/>
            </a:pPr>
            <a:r>
              <a:rPr lang="hr-HR" b="1" dirty="0" smtClean="0">
                <a:solidFill>
                  <a:prstClr val="black"/>
                </a:solidFill>
              </a:rPr>
              <a:t>… </a:t>
            </a:r>
            <a:endParaRPr lang="hr-HR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b="1" dirty="0" smtClean="0">
                <a:solidFill>
                  <a:prstClr val="black"/>
                </a:solidFill>
              </a:rPr>
              <a:t> </a:t>
            </a:r>
            <a:endParaRPr lang="en-CA" sz="2000" dirty="0">
              <a:solidFill>
                <a:prstClr val="black"/>
              </a:solidFill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9571746" y="2056408"/>
            <a:ext cx="230633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Ključan uvid u potrošača: </a:t>
            </a: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…</a:t>
            </a:r>
            <a:endParaRPr lang="hr-HR" sz="1600" b="1" dirty="0">
              <a:solidFill>
                <a:prstClr val="black"/>
              </a:solidFill>
            </a:endParaRPr>
          </a:p>
          <a:p>
            <a:pPr>
              <a:defRPr/>
            </a:pPr>
            <a:r>
              <a:rPr lang="hr-HR" sz="1600" b="1" dirty="0" smtClean="0">
                <a:solidFill>
                  <a:prstClr val="black"/>
                </a:solidFill>
              </a:rPr>
              <a:t> </a:t>
            </a:r>
            <a:endParaRPr lang="en-CA" dirty="0">
              <a:solidFill>
                <a:prstClr val="black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8639" y="-94143"/>
            <a:ext cx="13222224" cy="1106691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88371" y="176680"/>
            <a:ext cx="122361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0">
              <a:defRPr/>
            </a:pPr>
            <a:r>
              <a:rPr lang="hr-HR" sz="3600" b="1" kern="0" dirty="0" smtClean="0">
                <a:solidFill>
                  <a:prstClr val="white"/>
                </a:solidFill>
              </a:rPr>
              <a:t>VEGETA NATUR: Prijedlog MARKETINŠKE AKTIVNOSTI</a:t>
            </a:r>
            <a:endParaRPr lang="en-US" sz="3600" b="1" kern="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1702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/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99977"/>
            <a:ext cx="9705444" cy="433197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1162813" y="2151727"/>
            <a:ext cx="751332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2E1700"/>
                </a:solidFill>
              </a:rPr>
              <a:t> </a:t>
            </a:r>
            <a:endParaRPr lang="en-CA" sz="3200" b="1" dirty="0" smtClean="0">
              <a:solidFill>
                <a:srgbClr val="2E1700"/>
              </a:solidFill>
            </a:endParaRP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2E1700"/>
                </a:solidFill>
              </a:rPr>
              <a:t>  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 smtClean="0">
                <a:solidFill>
                  <a:srgbClr val="2E1700"/>
                </a:solidFill>
              </a:rPr>
              <a:t>  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>
                <a:solidFill>
                  <a:srgbClr val="2E1700"/>
                </a:solidFill>
              </a:rPr>
              <a:t> </a:t>
            </a:r>
            <a:r>
              <a:rPr lang="hr-HR" sz="3200" b="1" dirty="0" smtClean="0">
                <a:solidFill>
                  <a:srgbClr val="2E1700"/>
                </a:solidFill>
              </a:rPr>
              <a:t> </a:t>
            </a:r>
          </a:p>
          <a:p>
            <a:pPr marL="457200" indent="-457200">
              <a:buFont typeface="+mj-lt"/>
              <a:buAutoNum type="arabicPeriod"/>
              <a:defRPr/>
            </a:pPr>
            <a:r>
              <a:rPr lang="hr-HR" sz="3200" b="1" dirty="0">
                <a:solidFill>
                  <a:srgbClr val="2E1700"/>
                </a:solidFill>
              </a:rPr>
              <a:t> </a:t>
            </a:r>
            <a:r>
              <a:rPr lang="hr-HR" sz="3200" b="1" dirty="0" smtClean="0">
                <a:solidFill>
                  <a:srgbClr val="2E1700"/>
                </a:solidFill>
              </a:rPr>
              <a:t> </a:t>
            </a:r>
            <a:endParaRPr lang="en-CA" sz="3600" dirty="0">
              <a:solidFill>
                <a:srgbClr val="2E17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48639" y="-94143"/>
            <a:ext cx="13222224" cy="1106691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88371" y="176680"/>
            <a:ext cx="121036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10">
              <a:defRPr/>
            </a:pPr>
            <a:r>
              <a:rPr lang="hr-HR" sz="3600" b="1" kern="0" dirty="0" smtClean="0">
                <a:solidFill>
                  <a:schemeClr val="bg1"/>
                </a:solidFill>
              </a:rPr>
              <a:t>VEGETA NATUR: Ključne poruke i zaključak </a:t>
            </a:r>
            <a:endParaRPr lang="en-US" sz="3600" b="1" kern="0" dirty="0">
              <a:solidFill>
                <a:schemeClr val="bg1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8562" y="0"/>
            <a:ext cx="277343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789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</TotalTime>
  <Words>133</Words>
  <Application>Microsoft Office PowerPoint</Application>
  <PresentationFormat>Široki zaslon</PresentationFormat>
  <Paragraphs>58</Paragraphs>
  <Slides>4</Slides>
  <Notes>2</Notes>
  <HiddenSlides>0</HiddenSlides>
  <MMClips>0</MMClips>
  <ScaleCrop>false</ScaleCrop>
  <HeadingPairs>
    <vt:vector size="8" baseType="variant">
      <vt:variant>
        <vt:lpstr>Korišteni fontovi</vt:lpstr>
      </vt:variant>
      <vt:variant>
        <vt:i4>4</vt:i4>
      </vt:variant>
      <vt:variant>
        <vt:lpstr>Tema</vt:lpstr>
      </vt:variant>
      <vt:variant>
        <vt:i4>1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4</vt:i4>
      </vt:variant>
    </vt:vector>
  </HeadingPairs>
  <TitlesOfParts>
    <vt:vector size="10" baseType="lpstr">
      <vt:lpstr>Arial</vt:lpstr>
      <vt:lpstr>Calibri</vt:lpstr>
      <vt:lpstr>Calibri Light</vt:lpstr>
      <vt:lpstr>Comic Sans MS</vt:lpstr>
      <vt:lpstr>Office Theme</vt:lpstr>
      <vt:lpstr>think-cell Slide</vt:lpstr>
      <vt:lpstr>PowerPointova prezentacija</vt:lpstr>
      <vt:lpstr>PowerPointova prezentacija</vt:lpstr>
      <vt:lpstr>PowerPointova prezentacija</vt:lpstr>
      <vt:lpstr>PowerPointova prezentacija</vt:lpstr>
    </vt:vector>
  </TitlesOfParts>
  <Company>Podravka d.d.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lek Sanja</dc:creator>
  <cp:lastModifiedBy>Profesor</cp:lastModifiedBy>
  <cp:revision>28</cp:revision>
  <dcterms:created xsi:type="dcterms:W3CDTF">2019-02-14T07:45:16Z</dcterms:created>
  <dcterms:modified xsi:type="dcterms:W3CDTF">2019-03-05T13:45:07Z</dcterms:modified>
</cp:coreProperties>
</file>